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18_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4"/>
  </p:notesMasterIdLst>
  <p:sldIdLst>
    <p:sldId id="280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Playfair Display SemiBold" panose="020B0604020202020204" charset="0"/>
      <p:regular r:id="rId19"/>
      <p:bold r:id="rId20"/>
      <p:italic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39" d="100"/>
          <a:sy n="39" d="100"/>
        </p:scale>
        <p:origin x="72" y="9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/Relationships>
</file>

<file path=ppt/comments/modernComment_118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859E60F-5891-4EAF-A72D-FED334EFAB1F}" authorId="{EC28B4B0-6701-2EAD-4AFD-41CFFF8EDE08}" created="2025-05-19T21:24:54.45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80"/>
      <ac:spMk id="557" creationId="{00000000-0000-0000-0000-000000000000}"/>
    </ac:deMkLst>
    <p188:txBody>
      <a:bodyPr/>
      <a:lstStyle/>
      <a:p>
        <a:r>
          <a:rPr lang="en-US"/>
          <a:t>Convert bullets to table and add a second column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" name="Google Shape;550;g2ecbd9d9bc7_0_5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1" name="Google Shape;551;g2ecbd9d9bc7_0_55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8_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g2ecbd9d9bc7_0_559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54" name="Google Shape;554;g2ecbd9d9bc7_0_559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555" name="Google Shape;555;g2ecbd9d9bc7_0_559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56" name="Google Shape;556;g2ecbd9d9bc7_0_559"/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Several industry trends were identified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57" name="Google Shape;557;g2ecbd9d9bc7_0_559"/>
          <p:cNvSpPr txBox="1"/>
          <p:nvPr/>
        </p:nvSpPr>
        <p:spPr>
          <a:xfrm>
            <a:off x="457200" y="966879"/>
            <a:ext cx="8016900" cy="310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Key industry trend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Geographic diversification of supply chain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dustry recovery and normalization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creased cyberthreat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artnerships between automotive and semiconductor companie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Talent shortage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novations in manufacturing and design proces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Advanced node technologie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emiconductor demand growth driven by AV/EV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Growth of generative AI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SG and sustainability improvements</a:t>
            </a:r>
            <a:endParaRPr dirty="0"/>
          </a:p>
          <a:p>
            <a:pPr marL="285750" marR="0" lvl="0" indent="-2857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etaverse growth</a:t>
            </a:r>
            <a:endParaRPr dirty="0"/>
          </a:p>
        </p:txBody>
      </p:sp>
      <p:sp>
        <p:nvSpPr>
          <p:cNvPr id="558" name="Google Shape;558;g2ecbd9d9bc7_0_559"/>
          <p:cNvSpPr txBox="1"/>
          <p:nvPr/>
        </p:nvSpPr>
        <p:spPr>
          <a:xfrm>
            <a:off x="354724" y="4124354"/>
            <a:ext cx="83322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Trends were identified using a compendium of documents representing analyst coverage, media coverage, and thought leadership articles from professional services firms</a:t>
            </a: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C00C2173-023C-44A5-89A9-FBB5A07F246D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79</Words>
  <Application>Microsoft Office PowerPoint</Application>
  <PresentationFormat>On-screen Show (16:9)</PresentationFormat>
  <Paragraphs>1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Exo</vt:lpstr>
      <vt:lpstr>Playfair Display SemiBold</vt:lpstr>
      <vt:lpstr>1_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24:46Z</dcterms:modified>
</cp:coreProperties>
</file>